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71" r:id="rId5"/>
    <p:sldId id="272" r:id="rId6"/>
    <p:sldId id="273" r:id="rId7"/>
    <p:sldId id="274" r:id="rId8"/>
    <p:sldId id="275" r:id="rId9"/>
  </p:sldIdLst>
  <p:sldSz cx="12192000" cy="6858000"/>
  <p:notesSz cx="6858000" cy="9144000"/>
  <p:custDataLst>
    <p:tags r:id="rId12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3B4E"/>
    <a:srgbClr val="9D7366"/>
    <a:srgbClr val="57A434"/>
    <a:srgbClr val="A6A8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1E64F6-EF8C-4719-8863-54DA65F5F0B9}" v="1" dt="2026-07-08T10:58:20.3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620"/>
    <p:restoredTop sz="94660"/>
  </p:normalViewPr>
  <p:slideViewPr>
    <p:cSldViewPr>
      <p:cViewPr varScale="1">
        <p:scale>
          <a:sx n="122" d="100"/>
          <a:sy n="122" d="100"/>
        </p:scale>
        <p:origin x="114" y="22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48" d="100"/>
          <a:sy n="48" d="100"/>
        </p:scale>
        <p:origin x="2752" y="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tte Reiche Sørensen" userId="73bd5fe1-1bab-483d-936b-372c4e65ccec" providerId="ADAL" clId="{62F302EC-6DD7-4B82-BE36-535A3501B422}"/>
    <pc:docChg chg="custSel modMainMaster">
      <pc:chgData name="Mette Reiche Sørensen" userId="73bd5fe1-1bab-483d-936b-372c4e65ccec" providerId="ADAL" clId="{62F302EC-6DD7-4B82-BE36-535A3501B422}" dt="2026-07-08T10:58:20.367" v="186"/>
      <pc:docMkLst>
        <pc:docMk/>
      </pc:docMkLst>
      <pc:sldMasterChg chg="modSldLayout">
        <pc:chgData name="Mette Reiche Sørensen" userId="73bd5fe1-1bab-483d-936b-372c4e65ccec" providerId="ADAL" clId="{62F302EC-6DD7-4B82-BE36-535A3501B422}" dt="2026-07-08T10:58:20.367" v="186"/>
        <pc:sldMasterMkLst>
          <pc:docMk/>
          <pc:sldMasterMk cId="1022105064" sldId="2147483648"/>
        </pc:sldMasterMkLst>
        <pc:sldLayoutChg chg="addSp delSp modSp mod">
          <pc:chgData name="Mette Reiche Sørensen" userId="73bd5fe1-1bab-483d-936b-372c4e65ccec" providerId="ADAL" clId="{62F302EC-6DD7-4B82-BE36-535A3501B422}" dt="2026-07-08T10:52:10.643" v="184" actId="1076"/>
          <pc:sldLayoutMkLst>
            <pc:docMk/>
            <pc:sldMasterMk cId="1022105064" sldId="2147483648"/>
            <pc:sldLayoutMk cId="930392170" sldId="2147483651"/>
          </pc:sldLayoutMkLst>
          <pc:picChg chg="mod">
            <ac:chgData name="Mette Reiche Sørensen" userId="73bd5fe1-1bab-483d-936b-372c4e65ccec" providerId="ADAL" clId="{62F302EC-6DD7-4B82-BE36-535A3501B422}" dt="2026-07-08T10:49:30.832" v="160" actId="1076"/>
            <ac:picMkLst>
              <pc:docMk/>
              <pc:sldMasterMk cId="1022105064" sldId="2147483648"/>
              <pc:sldLayoutMk cId="930392170" sldId="2147483651"/>
              <ac:picMk id="5" creationId="{FBB67637-41F7-93D8-F412-E7286AE4F5CF}"/>
            </ac:picMkLst>
          </pc:picChg>
          <pc:picChg chg="mod">
            <ac:chgData name="Mette Reiche Sørensen" userId="73bd5fe1-1bab-483d-936b-372c4e65ccec" providerId="ADAL" clId="{62F302EC-6DD7-4B82-BE36-535A3501B422}" dt="2026-07-08T10:51:48.772" v="179" actId="1076"/>
            <ac:picMkLst>
              <pc:docMk/>
              <pc:sldMasterMk cId="1022105064" sldId="2147483648"/>
              <pc:sldLayoutMk cId="930392170" sldId="2147483651"/>
              <ac:picMk id="7" creationId="{6426636D-EF6C-DD73-6F40-E3B1138F7F15}"/>
            </ac:picMkLst>
          </pc:picChg>
          <pc:picChg chg="mod">
            <ac:chgData name="Mette Reiche Sørensen" userId="73bd5fe1-1bab-483d-936b-372c4e65ccec" providerId="ADAL" clId="{62F302EC-6DD7-4B82-BE36-535A3501B422}" dt="2026-07-08T10:51:06.831" v="173" actId="1076"/>
            <ac:picMkLst>
              <pc:docMk/>
              <pc:sldMasterMk cId="1022105064" sldId="2147483648"/>
              <pc:sldLayoutMk cId="930392170" sldId="2147483651"/>
              <ac:picMk id="8" creationId="{3012ABA3-5B02-C101-65B4-E970F403D8E1}"/>
            </ac:picMkLst>
          </pc:picChg>
          <pc:picChg chg="mod">
            <ac:chgData name="Mette Reiche Sørensen" userId="73bd5fe1-1bab-483d-936b-372c4e65ccec" providerId="ADAL" clId="{62F302EC-6DD7-4B82-BE36-535A3501B422}" dt="2026-07-08T10:50:41.392" v="169" actId="1076"/>
            <ac:picMkLst>
              <pc:docMk/>
              <pc:sldMasterMk cId="1022105064" sldId="2147483648"/>
              <pc:sldLayoutMk cId="930392170" sldId="2147483651"/>
              <ac:picMk id="9" creationId="{88FEFA4B-10C5-793E-AF74-2B90FD765B92}"/>
            </ac:picMkLst>
          </pc:picChg>
          <pc:picChg chg="add mod">
            <ac:chgData name="Mette Reiche Sørensen" userId="73bd5fe1-1bab-483d-936b-372c4e65ccec" providerId="ADAL" clId="{62F302EC-6DD7-4B82-BE36-535A3501B422}" dt="2026-07-08T10:51:51.710" v="180" actId="1076"/>
            <ac:picMkLst>
              <pc:docMk/>
              <pc:sldMasterMk cId="1022105064" sldId="2147483648"/>
              <pc:sldLayoutMk cId="930392170" sldId="2147483651"/>
              <ac:picMk id="10" creationId="{EF315540-2AA9-D77D-BA46-03E0E676153C}"/>
            </ac:picMkLst>
          </pc:picChg>
          <pc:picChg chg="mod">
            <ac:chgData name="Mette Reiche Sørensen" userId="73bd5fe1-1bab-483d-936b-372c4e65ccec" providerId="ADAL" clId="{62F302EC-6DD7-4B82-BE36-535A3501B422}" dt="2026-07-08T10:51:55.929" v="181" actId="1076"/>
            <ac:picMkLst>
              <pc:docMk/>
              <pc:sldMasterMk cId="1022105064" sldId="2147483648"/>
              <pc:sldLayoutMk cId="930392170" sldId="2147483651"/>
              <ac:picMk id="12" creationId="{A2933A72-EB17-13E7-C050-ED80D0CBAD0D}"/>
            </ac:picMkLst>
          </pc:picChg>
          <pc:picChg chg="mod">
            <ac:chgData name="Mette Reiche Sørensen" userId="73bd5fe1-1bab-483d-936b-372c4e65ccec" providerId="ADAL" clId="{62F302EC-6DD7-4B82-BE36-535A3501B422}" dt="2026-07-08T10:51:10.746" v="174" actId="1076"/>
            <ac:picMkLst>
              <pc:docMk/>
              <pc:sldMasterMk cId="1022105064" sldId="2147483648"/>
              <pc:sldLayoutMk cId="930392170" sldId="2147483651"/>
              <ac:picMk id="14" creationId="{FD986DA4-C9CB-E04C-6C76-910BD8183634}"/>
            </ac:picMkLst>
          </pc:picChg>
          <pc:picChg chg="mod">
            <ac:chgData name="Mette Reiche Sørensen" userId="73bd5fe1-1bab-483d-936b-372c4e65ccec" providerId="ADAL" clId="{62F302EC-6DD7-4B82-BE36-535A3501B422}" dt="2026-07-08T10:52:10.643" v="184" actId="1076"/>
            <ac:picMkLst>
              <pc:docMk/>
              <pc:sldMasterMk cId="1022105064" sldId="2147483648"/>
              <pc:sldLayoutMk cId="930392170" sldId="2147483651"/>
              <ac:picMk id="16" creationId="{D5F36B60-3B54-00F7-B54D-EC3179486AB9}"/>
            </ac:picMkLst>
          </pc:picChg>
          <pc:picChg chg="mod">
            <ac:chgData name="Mette Reiche Sørensen" userId="73bd5fe1-1bab-483d-936b-372c4e65ccec" providerId="ADAL" clId="{62F302EC-6DD7-4B82-BE36-535A3501B422}" dt="2026-07-08T10:49:09.372" v="156" actId="1076"/>
            <ac:picMkLst>
              <pc:docMk/>
              <pc:sldMasterMk cId="1022105064" sldId="2147483648"/>
              <pc:sldLayoutMk cId="930392170" sldId="2147483651"/>
              <ac:picMk id="17" creationId="{3A68D3BD-17D8-EAEE-D432-9ECA45B5819B}"/>
            </ac:picMkLst>
          </pc:picChg>
          <pc:picChg chg="mod">
            <ac:chgData name="Mette Reiche Sørensen" userId="73bd5fe1-1bab-483d-936b-372c4e65ccec" providerId="ADAL" clId="{62F302EC-6DD7-4B82-BE36-535A3501B422}" dt="2026-07-08T10:52:03.670" v="182" actId="1076"/>
            <ac:picMkLst>
              <pc:docMk/>
              <pc:sldMasterMk cId="1022105064" sldId="2147483648"/>
              <pc:sldLayoutMk cId="930392170" sldId="2147483651"/>
              <ac:picMk id="22" creationId="{A63CD2F2-B990-2D54-12EC-DDE77B455BA9}"/>
            </ac:picMkLst>
          </pc:picChg>
          <pc:picChg chg="mod">
            <ac:chgData name="Mette Reiche Sørensen" userId="73bd5fe1-1bab-483d-936b-372c4e65ccec" providerId="ADAL" clId="{62F302EC-6DD7-4B82-BE36-535A3501B422}" dt="2026-07-08T10:52:06.793" v="183" actId="1076"/>
            <ac:picMkLst>
              <pc:docMk/>
              <pc:sldMasterMk cId="1022105064" sldId="2147483648"/>
              <pc:sldLayoutMk cId="930392170" sldId="2147483651"/>
              <ac:picMk id="25" creationId="{A8A7FAEC-65D8-300C-C9EC-205C83FDEBED}"/>
            </ac:picMkLst>
          </pc:picChg>
          <pc:picChg chg="mod">
            <ac:chgData name="Mette Reiche Sørensen" userId="73bd5fe1-1bab-483d-936b-372c4e65ccec" providerId="ADAL" clId="{62F302EC-6DD7-4B82-BE36-535A3501B422}" dt="2026-07-08T10:51:45.694" v="178" actId="1076"/>
            <ac:picMkLst>
              <pc:docMk/>
              <pc:sldMasterMk cId="1022105064" sldId="2147483648"/>
              <pc:sldLayoutMk cId="930392170" sldId="2147483651"/>
              <ac:picMk id="28" creationId="{ACDD7F83-8ADF-5910-2247-2CC1B6F07F48}"/>
            </ac:picMkLst>
          </pc:picChg>
        </pc:sldLayoutChg>
        <pc:sldLayoutChg chg="addSp delSp modSp mod">
          <pc:chgData name="Mette Reiche Sørensen" userId="73bd5fe1-1bab-483d-936b-372c4e65ccec" providerId="ADAL" clId="{62F302EC-6DD7-4B82-BE36-535A3501B422}" dt="2026-07-08T10:58:20.367" v="186"/>
          <pc:sldLayoutMkLst>
            <pc:docMk/>
            <pc:sldMasterMk cId="1022105064" sldId="2147483648"/>
            <pc:sldLayoutMk cId="3345821282" sldId="2147483656"/>
          </pc:sldLayoutMkLst>
          <pc:spChg chg="add mod">
            <ac:chgData name="Mette Reiche Sørensen" userId="73bd5fe1-1bab-483d-936b-372c4e65ccec" providerId="ADAL" clId="{62F302EC-6DD7-4B82-BE36-535A3501B422}" dt="2026-07-08T10:58:20.367" v="186"/>
            <ac:spMkLst>
              <pc:docMk/>
              <pc:sldMasterMk cId="1022105064" sldId="2147483648"/>
              <pc:sldLayoutMk cId="3345821282" sldId="2147483656"/>
              <ac:spMk id="4" creationId="{EA9B07C7-BE80-0080-19D7-CB6E70D9B2C6}"/>
            </ac:spMkLst>
          </pc:spChg>
          <pc:spChg chg="del">
            <ac:chgData name="Mette Reiche Sørensen" userId="73bd5fe1-1bab-483d-936b-372c4e65ccec" providerId="ADAL" clId="{62F302EC-6DD7-4B82-BE36-535A3501B422}" dt="2026-07-08T10:58:08.723" v="185" actId="478"/>
            <ac:spMkLst>
              <pc:docMk/>
              <pc:sldMasterMk cId="1022105064" sldId="2147483648"/>
              <pc:sldLayoutMk cId="3345821282" sldId="2147483656"/>
              <ac:spMk id="17" creationId="{BEDD7AA5-E5DA-EF81-C88E-08644D6FDC2B}"/>
            </ac:spMkLst>
          </pc:sp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8" creationId="{56DBA67B-625C-38B2-1E6D-D9C942F76D2A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9" creationId="{060EF37F-574A-A136-EB39-B66D8FC7914B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0" creationId="{88E09578-6B6D-D46D-FA88-3F9C38852EE3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1" creationId="{863F87B7-4C5B-67EE-1EA7-5A385582E618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2" creationId="{1E5C82C9-6C41-43CA-9A6D-8F27FF4295E2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3" creationId="{05AE45C8-0168-B922-692E-DFCC5F7E4833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4" creationId="{BE4FD6C4-6BAE-A556-A93B-C63375FBBE6D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5" creationId="{5F485A83-276A-FA6E-C22E-F47CE8893A31}"/>
            </ac:picMkLst>
          </pc:picChg>
          <pc:picChg chg="del">
            <ac:chgData name="Mette Reiche Sørensen" userId="73bd5fe1-1bab-483d-936b-372c4e65ccec" providerId="ADAL" clId="{62F302EC-6DD7-4B82-BE36-535A3501B422}" dt="2026-07-08T10:58:08.723" v="185" actId="478"/>
            <ac:picMkLst>
              <pc:docMk/>
              <pc:sldMasterMk cId="1022105064" sldId="2147483648"/>
              <pc:sldLayoutMk cId="3345821282" sldId="2147483656"/>
              <ac:picMk id="16" creationId="{09CCA3C1-71D6-96E9-BAC1-7AD6188C5BAE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18" creationId="{998D3E52-8C29-CF31-7F66-1EB56371BF47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19" creationId="{1AD62552-CA5A-102D-E054-7607BF3CFD5F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22" creationId="{278328B9-FB37-99EB-B93A-FE4C023C3105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25" creationId="{6C2E6A2C-5560-4C3F-EF71-9707556A3831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31" creationId="{D57CF206-0870-EB65-F269-5D703CEC2F15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32" creationId="{29D3497A-073B-577F-16E2-B4251BA95B1B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33" creationId="{23CA8813-8C5F-216A-1D05-E3C1124FD4B0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35" creationId="{854A8DDA-B0F8-AD6A-EBF5-07FAFCAF05BD}"/>
            </ac:picMkLst>
          </pc:picChg>
          <pc:picChg chg="add mod">
            <ac:chgData name="Mette Reiche Sørensen" userId="73bd5fe1-1bab-483d-936b-372c4e65ccec" providerId="ADAL" clId="{62F302EC-6DD7-4B82-BE36-535A3501B422}" dt="2026-07-08T10:58:20.367" v="186"/>
            <ac:picMkLst>
              <pc:docMk/>
              <pc:sldMasterMk cId="1022105064" sldId="2147483648"/>
              <pc:sldLayoutMk cId="3345821282" sldId="2147483656"/>
              <ac:picMk id="36" creationId="{36E94B69-FFAE-E923-049C-F7720B8B7900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1C68FD4-EA7F-100F-61AE-DC27B0EF2A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CFFF176-B518-D6A6-0CDD-A6264A81D7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A8D933-015F-4CEE-8420-12603B9AEE46}" type="datetimeFigureOut">
              <a:rPr lang="da-DK" smtClean="0"/>
              <a:t>08-07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ECB27F6-FD9A-F7EF-6387-86703E5D971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4E9DB50-7D35-DBBF-D606-CE5CC9360A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0EBBF0-00EC-44A4-A3DD-519C1399DA3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9672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AAAB7-0E1D-45DB-99FD-49F50F76F7BD}" type="datetimeFigureOut">
              <a:rPr lang="da-DK" smtClean="0"/>
              <a:t>08-07-2026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01313B-6D4E-4581-90F2-F4FB7847A8E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0779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01313B-6D4E-4581-90F2-F4FB7847A8E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0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svg"/><Relationship Id="rId1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svg"/><Relationship Id="rId1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2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6" y="2666278"/>
            <a:ext cx="6015235" cy="1362075"/>
          </a:xfrm>
        </p:spPr>
        <p:txBody>
          <a:bodyPr vert="horz" anchor="t">
            <a:normAutofit/>
          </a:bodyPr>
          <a:lstStyle>
            <a:lvl1pPr algn="ctr">
              <a:defRPr sz="3200" b="1" cap="all" baseline="0"/>
            </a:lvl1pPr>
          </a:lstStyle>
          <a:p>
            <a:r>
              <a:rPr lang="en-US" dirty="0"/>
              <a:t>Presentation tit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1" name="Rectangle 2050"/>
          <p:cNvSpPr/>
          <p:nvPr userDrawn="1"/>
        </p:nvSpPr>
        <p:spPr>
          <a:xfrm>
            <a:off x="409432" y="1610649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5" name="Billede 4" descr="Et billede, der indeholder Font/skrifttype, tekst, Grafik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FBB67637-41F7-93D8-F412-E7286AE4F5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630" y="3199891"/>
            <a:ext cx="1689138" cy="1689138"/>
          </a:xfrm>
          <a:prstGeom prst="rect">
            <a:avLst/>
          </a:prstGeom>
        </p:spPr>
      </p:pic>
      <p:pic>
        <p:nvPicPr>
          <p:cNvPr id="12" name="Billede 11" descr="Et billede, der indeholder skærmbillede, Font/skrifttype, Grafik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A2933A72-EB17-13E7-C050-ED80D0CBAD0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2277" y="5345458"/>
            <a:ext cx="1295049" cy="27618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5F36B60-3B54-00F7-B54D-EC3179486AB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3060" y="3759183"/>
            <a:ext cx="1307343" cy="486835"/>
          </a:xfrm>
          <a:prstGeom prst="rect">
            <a:avLst/>
          </a:prstGeom>
        </p:spPr>
      </p:pic>
      <p:pic>
        <p:nvPicPr>
          <p:cNvPr id="25" name="Billede 24" descr="Et billede, der indeholder Font/skrifttype, Grafik, skærmbillede, sort&#10;&#10;Indhold genereret af kunstig intelligens kan være forkert.">
            <a:extLst>
              <a:ext uri="{FF2B5EF4-FFF2-40B4-BE49-F238E27FC236}">
                <a16:creationId xmlns:a16="http://schemas.microsoft.com/office/drawing/2014/main" id="{A8A7FAEC-65D8-300C-C9EC-205C83FDEB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450" y="4586479"/>
            <a:ext cx="913378" cy="302550"/>
          </a:xfrm>
          <a:prstGeom prst="rect">
            <a:avLst/>
          </a:prstGeom>
        </p:spPr>
      </p:pic>
      <p:pic>
        <p:nvPicPr>
          <p:cNvPr id="7" name="Billede 6" descr="Et billede, der indeholder Font/skrifttype, tekst, logo, Grafik&#10;&#10;Indhold genereret af kunstig intelligens kan være forkert.">
            <a:extLst>
              <a:ext uri="{FF2B5EF4-FFF2-40B4-BE49-F238E27FC236}">
                <a16:creationId xmlns:a16="http://schemas.microsoft.com/office/drawing/2014/main" id="{6426636D-EF6C-DD73-6F40-E3B1138F7F1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36" y="6076803"/>
            <a:ext cx="1021360" cy="279548"/>
          </a:xfrm>
          <a:prstGeom prst="rect">
            <a:avLst/>
          </a:prstGeom>
        </p:spPr>
      </p:pic>
      <p:pic>
        <p:nvPicPr>
          <p:cNvPr id="8" name="Billede 7" descr="Et billede, der indeholder Grafik, Font/skrifttype, logo, grafisk design&#10;&#10;AI-genereret indhold kan være ukorrekt.">
            <a:extLst>
              <a:ext uri="{FF2B5EF4-FFF2-40B4-BE49-F238E27FC236}">
                <a16:creationId xmlns:a16="http://schemas.microsoft.com/office/drawing/2014/main" id="{3012ABA3-5B02-C101-65B4-E970F403D8E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46" y="2126553"/>
            <a:ext cx="1307343" cy="5055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FEFA4B-10C5-793E-AF74-2B90FD765B9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148" y="2190645"/>
            <a:ext cx="1647309" cy="4470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D986DA4-C9CB-E04C-6C76-910BD818363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14" y="3031547"/>
            <a:ext cx="1441036" cy="4278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68D3BD-17D8-EAEE-D432-9ECA45B5819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797" y="2931513"/>
            <a:ext cx="2148048" cy="5237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63CD2F2-B990-2D54-12EC-DDE77B455BA9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174" y="4461323"/>
            <a:ext cx="1021360" cy="45584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CDD7F83-8ADF-5910-2247-2CC1B6F07F4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7" y="5235944"/>
            <a:ext cx="1231739" cy="3859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315540-2AA9-D77D-BA46-03E0E676153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512" y="5734765"/>
            <a:ext cx="2358618" cy="96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92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2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195437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896"/>
            <a:ext cx="10972800" cy="3633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88918-E8D8-460C-AC3E-1AF5A66BC5F6}" type="datetime1">
              <a:rPr lang="da-DK" smtClean="0"/>
              <a:t>08-07-2026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7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8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9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26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20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64" y="860189"/>
            <a:ext cx="10972800" cy="1143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056457"/>
            <a:ext cx="5386917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708919"/>
            <a:ext cx="5386917" cy="341724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2056457"/>
            <a:ext cx="5389033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708919"/>
            <a:ext cx="5389033" cy="34172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1A996-EE95-4FCB-9BA1-C87B9814B494}" type="datetime1">
              <a:rPr lang="da-DK" smtClean="0"/>
              <a:t>08-07-2026</a:t>
            </a:fld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11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2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3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421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83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96752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56C59-53C3-48A3-9B4F-7840E4B5B4DF}" type="datetime1">
              <a:rPr lang="da-DK" smtClean="0"/>
              <a:t>08-07-2026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9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0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1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146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F48F9-2917-4C88-ABE7-249D08D435AD}" type="datetime1">
              <a:rPr lang="da-DK" smtClean="0"/>
              <a:t>08-07-2026</a:t>
            </a:fld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6" name="Picture 2" descr="AAU_LOGO_RGB_UK_crop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7" name="Picture 2" descr="ECD_logo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8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4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38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7" y="2666278"/>
            <a:ext cx="6015234" cy="1362075"/>
          </a:xfrm>
        </p:spPr>
        <p:txBody>
          <a:bodyPr vert="horz" anchor="t"/>
          <a:lstStyle>
            <a:lvl1pPr algn="ctr">
              <a:defRPr sz="4000" b="1" cap="all" baseline="0"/>
            </a:lvl1pPr>
          </a:lstStyle>
          <a:p>
            <a:r>
              <a:rPr lang="en-US" dirty="0"/>
              <a:t>Thank you for </a:t>
            </a:r>
            <a:r>
              <a:rPr lang="en-US" dirty="0" err="1"/>
              <a:t>youR</a:t>
            </a:r>
            <a:r>
              <a:rPr lang="en-US" dirty="0"/>
              <a:t> attention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2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22-23 September 2026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6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9B07C7-BE80-0080-19D7-CB6E70D9B2C6}"/>
              </a:ext>
            </a:extLst>
          </p:cNvPr>
          <p:cNvSpPr/>
          <p:nvPr userDrawn="1"/>
        </p:nvSpPr>
        <p:spPr>
          <a:xfrm>
            <a:off x="409432" y="1610649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18" name="Billede 4" descr="Et billede, der indeholder Font/skrifttype, tekst, Grafik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998D3E52-8C29-CF31-7F66-1EB56371BF4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630" y="3199891"/>
            <a:ext cx="1689138" cy="1689138"/>
          </a:xfrm>
          <a:prstGeom prst="rect">
            <a:avLst/>
          </a:prstGeom>
        </p:spPr>
      </p:pic>
      <p:pic>
        <p:nvPicPr>
          <p:cNvPr id="19" name="Billede 11" descr="Et billede, der indeholder skærmbillede, Font/skrifttype, Grafik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1AD62552-CA5A-102D-E054-7607BF3CFD5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2277" y="5345458"/>
            <a:ext cx="1295049" cy="276186"/>
          </a:xfrm>
          <a:prstGeom prst="rect">
            <a:avLst/>
          </a:prstGeom>
        </p:spPr>
      </p:pic>
      <p:pic>
        <p:nvPicPr>
          <p:cNvPr id="22" name="Grafik 15">
            <a:extLst>
              <a:ext uri="{FF2B5EF4-FFF2-40B4-BE49-F238E27FC236}">
                <a16:creationId xmlns:a16="http://schemas.microsoft.com/office/drawing/2014/main" id="{278328B9-FB37-99EB-B93A-FE4C023C310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3060" y="3759183"/>
            <a:ext cx="1307343" cy="486835"/>
          </a:xfrm>
          <a:prstGeom prst="rect">
            <a:avLst/>
          </a:prstGeom>
        </p:spPr>
      </p:pic>
      <p:pic>
        <p:nvPicPr>
          <p:cNvPr id="25" name="Billede 24" descr="Et billede, der indeholder Font/skrifttype, Grafik, skærmbillede, sort&#10;&#10;Indhold genereret af kunstig intelligens kan være forkert.">
            <a:extLst>
              <a:ext uri="{FF2B5EF4-FFF2-40B4-BE49-F238E27FC236}">
                <a16:creationId xmlns:a16="http://schemas.microsoft.com/office/drawing/2014/main" id="{6C2E6A2C-5560-4C3F-EF71-9707556A383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450" y="4586479"/>
            <a:ext cx="913378" cy="302550"/>
          </a:xfrm>
          <a:prstGeom prst="rect">
            <a:avLst/>
          </a:prstGeom>
        </p:spPr>
      </p:pic>
      <p:pic>
        <p:nvPicPr>
          <p:cNvPr id="30" name="Billede 6" descr="Et billede, der indeholder Font/skrifttype, tekst, logo, Grafik&#10;&#10;Indhold genereret af kunstig intelligens kan være forkert.">
            <a:extLst>
              <a:ext uri="{FF2B5EF4-FFF2-40B4-BE49-F238E27FC236}">
                <a16:creationId xmlns:a16="http://schemas.microsoft.com/office/drawing/2014/main" id="{FD8120F8-D971-7643-0F68-C56BCFDD7EB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36" y="6076803"/>
            <a:ext cx="1021360" cy="279548"/>
          </a:xfrm>
          <a:prstGeom prst="rect">
            <a:avLst/>
          </a:prstGeom>
        </p:spPr>
      </p:pic>
      <p:pic>
        <p:nvPicPr>
          <p:cNvPr id="31" name="Billede 7" descr="Et billede, der indeholder Grafik, Font/skrifttype, logo, grafisk design&#10;&#10;AI-genereret indhold kan være ukorrekt.">
            <a:extLst>
              <a:ext uri="{FF2B5EF4-FFF2-40B4-BE49-F238E27FC236}">
                <a16:creationId xmlns:a16="http://schemas.microsoft.com/office/drawing/2014/main" id="{D57CF206-0870-EB65-F269-5D703CEC2F1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46" y="2126553"/>
            <a:ext cx="1307343" cy="50550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9D3497A-073B-577F-16E2-B4251BA95B1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148" y="2190645"/>
            <a:ext cx="1647309" cy="4470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3CA8813-8C5F-216A-1D05-E3C1124FD4B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14" y="3031547"/>
            <a:ext cx="1441036" cy="42780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EB37952-6CD6-4047-8B79-84A528E36B12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797" y="2931513"/>
            <a:ext cx="2148048" cy="52379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54A8DDA-B0F8-AD6A-EBF5-07FAFCAF05B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174" y="4461323"/>
            <a:ext cx="1021360" cy="45584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6E94B69-FFAE-E923-049C-F7720B8B790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7" y="5235944"/>
            <a:ext cx="1231739" cy="38594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1E0BCF5-FEE6-E1E7-CA7C-262A395A139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512" y="5734765"/>
            <a:ext cx="2358618" cy="96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821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5048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059C31-193E-4847-8E6F-A1A03B3CA043}" type="datetime1">
              <a:rPr lang="da-DK" smtClean="0"/>
              <a:t>08-07-2026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C8990-AC53-4959-B57E-28DC14E01F09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10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3" r:id="rId3"/>
    <p:sldLayoutId id="2147483654" r:id="rId4"/>
    <p:sldLayoutId id="2147483655" r:id="rId5"/>
    <p:sldLayoutId id="2147483656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57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F3F7AF-76C0-497A-B5E4-FDCD1D90F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F1CBBDE5-3243-40A5-B14A-52962C25D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825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296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753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963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7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D15D8BC3FEC6A47ACF942AB7BE4C580" ma:contentTypeVersion="10" ma:contentTypeDescription="Opret et nyt dokument." ma:contentTypeScope="" ma:versionID="6af6f5d8c35cc820f04894cd3283a37f">
  <xsd:schema xmlns:xsd="http://www.w3.org/2001/XMLSchema" xmlns:xs="http://www.w3.org/2001/XMLSchema" xmlns:p="http://schemas.microsoft.com/office/2006/metadata/properties" xmlns:ns2="e78af0d5-a5dc-4c1a-9797-c8014196f9a2" xmlns:ns3="59ea1a46-b48a-490c-8784-d323b11fe111" targetNamespace="http://schemas.microsoft.com/office/2006/metadata/properties" ma:root="true" ma:fieldsID="f665c68da01ec00e9d908a1ff2de8142" ns2:_="" ns3:_="">
    <xsd:import namespace="e78af0d5-a5dc-4c1a-9797-c8014196f9a2"/>
    <xsd:import namespace="59ea1a46-b48a-490c-8784-d323b11fe1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8af0d5-a5dc-4c1a-9797-c8014196f9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ledmærker" ma:readOnly="false" ma:fieldId="{5cf76f15-5ced-4ddc-b409-7134ff3c332f}" ma:taxonomyMulti="true" ma:sspId="5d73657e-90f0-444e-a899-7df328d36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ea1a46-b48a-490c-8784-d323b11fe111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bc1f2a7-c764-4557-bd0b-364f9f9130a7}" ma:internalName="TaxCatchAll" ma:showField="CatchAllData" ma:web="59ea1a46-b48a-490c-8784-d323b11fe1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78af0d5-a5dc-4c1a-9797-c8014196f9a2">
      <Terms xmlns="http://schemas.microsoft.com/office/infopath/2007/PartnerControls"/>
    </lcf76f155ced4ddcb4097134ff3c332f>
    <TaxCatchAll xmlns="59ea1a46-b48a-490c-8784-d323b11fe111" xsi:nil="true"/>
  </documentManagement>
</p:properties>
</file>

<file path=customXml/itemProps1.xml><?xml version="1.0" encoding="utf-8"?>
<ds:datastoreItem xmlns:ds="http://schemas.openxmlformats.org/officeDocument/2006/customXml" ds:itemID="{6DF7C3E9-3E18-486C-9E5C-A220892AEF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8af0d5-a5dc-4c1a-9797-c8014196f9a2"/>
    <ds:schemaRef ds:uri="59ea1a46-b48a-490c-8784-d323b11fe1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33CCE0-AC46-4150-8721-84CBDF21A8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82BA2F-2E1A-4836-87EE-BC7FF84292C7}">
  <ds:schemaRefs>
    <ds:schemaRef ds:uri="http://schemas.microsoft.com/office/2006/documentManagement/types"/>
    <ds:schemaRef ds:uri="http://purl.org/dc/terms/"/>
    <ds:schemaRef ds:uri="93de73cf-449c-470b-a45d-fc882adeee99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d1b4fd4-c07b-4c84-89e3-bdde29d7bf6f"/>
    <ds:schemaRef ds:uri="http://www.w3.org/XML/1998/namespace"/>
    <ds:schemaRef ds:uri="e78af0d5-a5dc-4c1a-9797-c8014196f9a2"/>
    <ds:schemaRef ds:uri="59ea1a46-b48a-490c-8784-d323b11fe111"/>
  </ds:schemaRefs>
</ds:datastoreItem>
</file>

<file path=docMetadata/LabelInfo.xml><?xml version="1.0" encoding="utf-8"?>
<clbl:labelList xmlns:clbl="http://schemas.microsoft.com/office/2020/mipLabelMetadata">
  <clbl:label id="{f5dbba49-ce06-496f-ac3e-0cf14361d934}" enabled="0" method="" siteId="{f5dbba49-ce06-496f-ac3e-0cf14361d93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69</TotalTime>
  <Words>1</Words>
  <Application>Microsoft Office PowerPoint</Application>
  <PresentationFormat>Widescreen</PresentationFormat>
  <Paragraphs>1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ptos</vt:lpstr>
      <vt:lpstr>Arial</vt:lpstr>
      <vt:lpstr>Calibri</vt:lpstr>
      <vt:lpstr>Museo Sans 500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alborg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Conference on Smart Energy Systems and 4th Generation District Heating Copenhagen, 25-26 August 2015</dc:title>
  <dc:creator>Nina Ferdinand</dc:creator>
  <cp:lastModifiedBy>Mette Reiche Sørensen</cp:lastModifiedBy>
  <cp:revision>36</cp:revision>
  <dcterms:created xsi:type="dcterms:W3CDTF">2015-08-05T13:20:26Z</dcterms:created>
  <dcterms:modified xsi:type="dcterms:W3CDTF">2026-07-08T10:5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15D8BC3FEC6A47ACF942AB7BE4C580</vt:lpwstr>
  </property>
  <property fmtid="{D5CDD505-2E9C-101B-9397-08002B2CF9AE}" pid="3" name="MediaServiceImageTags">
    <vt:lpwstr/>
  </property>
</Properties>
</file>